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20"/>
  </p:notesMasterIdLst>
  <p:handoutMasterIdLst>
    <p:handoutMasterId r:id="rId21"/>
  </p:handoutMasterIdLst>
  <p:sldIdLst>
    <p:sldId id="319" r:id="rId6"/>
    <p:sldId id="299" r:id="rId7"/>
    <p:sldId id="349" r:id="rId8"/>
    <p:sldId id="350" r:id="rId9"/>
    <p:sldId id="348" r:id="rId10"/>
    <p:sldId id="351" r:id="rId11"/>
    <p:sldId id="339" r:id="rId12"/>
    <p:sldId id="352" r:id="rId13"/>
    <p:sldId id="329" r:id="rId14"/>
    <p:sldId id="354" r:id="rId15"/>
    <p:sldId id="328" r:id="rId16"/>
    <p:sldId id="355" r:id="rId17"/>
    <p:sldId id="274" r:id="rId18"/>
    <p:sldId id="332" r:id="rId19"/>
  </p:sldIdLst>
  <p:sldSz cx="9144000" cy="6858000" type="screen4x3"/>
  <p:notesSz cx="6805613" cy="9944100"/>
  <p:custDataLst>
    <p:tags r:id="rId22"/>
  </p:custDataLst>
  <p:defaultTextStyle>
    <a:defPPr>
      <a:defRPr lang="fr-FR"/>
    </a:defPPr>
    <a:lvl1pPr marL="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95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464646"/>
    <a:srgbClr val="FAAA0A"/>
    <a:srgbClr val="F07D00"/>
    <a:srgbClr val="F2F2F2"/>
    <a:srgbClr val="2DAA64"/>
    <a:srgbClr val="A6A6A6"/>
    <a:srgbClr val="4D0B39"/>
    <a:srgbClr val="D99782"/>
    <a:srgbClr val="88A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71" autoAdjust="0"/>
    <p:restoredTop sz="94469" autoAdjust="0"/>
  </p:normalViewPr>
  <p:slideViewPr>
    <p:cSldViewPr snapToGrid="0" snapToObjects="1" showGuides="1">
      <p:cViewPr varScale="1">
        <p:scale>
          <a:sx n="94" d="100"/>
          <a:sy n="94" d="100"/>
        </p:scale>
        <p:origin x="-1002" y="-108"/>
      </p:cViewPr>
      <p:guideLst>
        <p:guide orient="horz" pos="3884"/>
        <p:guide orient="horz" pos="935"/>
        <p:guide orient="horz" pos="300"/>
        <p:guide pos="542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7" d="100"/>
        <a:sy n="57" d="100"/>
      </p:scale>
      <p:origin x="0" y="0"/>
    </p:cViewPr>
  </p:sorterViewPr>
  <p:notesViewPr>
    <p:cSldViewPr snapToGrid="0" snapToObjects="1" showGuides="1">
      <p:cViewPr varScale="1">
        <p:scale>
          <a:sx n="89" d="100"/>
          <a:sy n="89" d="100"/>
        </p:scale>
        <p:origin x="-1920" y="-126"/>
      </p:cViewPr>
      <p:guideLst>
        <p:guide orient="horz"/>
        <p:guide pos="42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49099" cy="27352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pPr algn="l"/>
            <a:fld id="{992ACF9D-DFDC-416D-8629-6E7E5D8EA592}" type="datetime1">
              <a:rPr lang="de-DE" smtClean="0"/>
              <a:t>21.02.2017</a:t>
            </a:fld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544488" y="9502038"/>
            <a:ext cx="566990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l">
              <a:defRPr sz="1200"/>
            </a:lvl1pPr>
          </a:lstStyle>
          <a:p>
            <a:r>
              <a:rPr lang="fr-FR" sz="1100" dirty="0" err="1"/>
              <a:t>Titel</a:t>
            </a:r>
            <a:endParaRPr lang="fr-FR" sz="11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1" y="9502038"/>
            <a:ext cx="54448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r">
              <a:defRPr sz="1200"/>
            </a:lvl1pPr>
          </a:lstStyle>
          <a:p>
            <a:fld id="{305287CA-3E72-4A91-B59B-B69F40801570}" type="slidenum">
              <a:rPr lang="en-GB" sz="1100"/>
              <a:pPr/>
              <a:t>‹Nr.›</a:t>
            </a:fld>
            <a:endParaRPr lang="en-GB" sz="11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527406" y="9601256"/>
            <a:ext cx="0" cy="107395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80833" y="9541270"/>
            <a:ext cx="298583" cy="218593"/>
          </a:xfrm>
          <a:prstGeom prst="rect">
            <a:avLst/>
          </a:prstGeom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00955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" y="0"/>
            <a:ext cx="6805611" cy="5105839"/>
          </a:xfrm>
          <a:prstGeom prst="rect">
            <a:avLst/>
          </a:prstGeom>
          <a:noFill/>
          <a:ln w="12700">
            <a:noFill/>
          </a:ln>
        </p:spPr>
        <p:txBody>
          <a:bodyPr vert="horz" lIns="91577" tIns="45789" rIns="91577" bIns="4578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 bwMode="gray">
          <a:xfrm>
            <a:off x="336884" y="5342021"/>
            <a:ext cx="6176211" cy="3856272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49309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88900" indent="-88900" algn="l" defTabSz="626913" rtl="0" eaLnBrk="1" latinLnBrk="0" hangingPunct="1">
      <a:buClr>
        <a:schemeClr val="accent1"/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177800" indent="-80963" algn="l" defTabSz="626913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260350" indent="-85725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349250" indent="-82550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444500" indent="-80963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67282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80738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94194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07651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425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4043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9023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005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4433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 Consu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337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39750" y="4224201"/>
            <a:ext cx="6463565" cy="424711"/>
          </a:xfrm>
        </p:spPr>
        <p:txBody>
          <a:bodyPr vert="horz" wrap="square" lIns="0" tIns="45710" rIns="0" bIns="45710" rtlCol="0" anchor="b">
            <a:spAutoFit/>
          </a:bodyPr>
          <a:lstStyle>
            <a:lvl1pPr>
              <a:defRPr lang="de-DE" sz="2400" dirty="0"/>
            </a:lvl1pPr>
          </a:lstStyle>
          <a:p>
            <a:pPr lvl="0"/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14" name="LogoDE_Mittel" descr="Z:\Sopra group - Evolution du masque Sopra Steria\2. Recu\Logo\SOPRASTERIA_soprasteriaconsulting_RVB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194300" y="5927183"/>
            <a:ext cx="4005580" cy="83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49499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4556345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584698" y="1474788"/>
            <a:ext cx="4559301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824288"/>
            <a:ext cx="4556345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584698" y="3824288"/>
            <a:ext cx="4559301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lIns="0" rIns="0"/>
          <a:lstStyle>
            <a:lvl1pPr marL="216000" indent="-216000">
              <a:defRPr sz="1600"/>
            </a:lvl1pPr>
            <a:lvl2pPr marL="540000" indent="-216000">
              <a:defRPr sz="1400"/>
            </a:lvl2pPr>
            <a:lvl3pPr marL="792000" indent="-180000"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noProof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706951" y="147478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4706951" y="384460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3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539750" y="384460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15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7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66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" y="1474788"/>
            <a:ext cx="4891138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932040" y="1474788"/>
            <a:ext cx="4211960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932040" y="3824288"/>
            <a:ext cx="4211960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74788"/>
            <a:ext cx="4351389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  <a:p>
            <a:pPr marL="792000" lvl="2" indent="-180000"/>
            <a:r>
              <a:rPr lang="de-DE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5206300" y="147478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206300" y="384460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24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3019301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237606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dirty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057155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6119008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4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3256057" y="1474788"/>
            <a:ext cx="262619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5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6300192" y="1474788"/>
            <a:ext cx="2499174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8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169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 smtClean="0"/>
              <a:t>Folie nur mit </a:t>
            </a:r>
            <a:r>
              <a:rPr lang="de-DE" dirty="0" err="1" smtClean="0"/>
              <a:t>überschrifT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3172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 bwMode="gray">
          <a:xfrm>
            <a:off x="518061" y="6538281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1" name="FooterCopyRight" descr="CopyRight"/>
          <p:cNvSpPr txBox="1"/>
          <p:nvPr userDrawn="1"/>
        </p:nvSpPr>
        <p:spPr bwMode="gray">
          <a:xfrm>
            <a:off x="3657738" y="6505986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679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ZoneTexte 8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smtClean="0">
                <a:solidFill>
                  <a:schemeClr val="bg1"/>
                </a:solidFill>
                <a:latin typeface="+mn-lt"/>
              </a:rPr>
              <a:t>KONTAKT</a:t>
            </a:r>
            <a:endParaRPr lang="de-DE" sz="2800" b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9640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1426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345038" y="6165850"/>
            <a:ext cx="3672408" cy="698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97159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HR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735014" y="5987144"/>
            <a:ext cx="3462020" cy="762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59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522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contenu 11"/>
          <p:cNvSpPr>
            <a:spLocks noGrp="1"/>
          </p:cNvSpPr>
          <p:nvPr>
            <p:ph sz="quarter" idx="13" hasCustomPrompt="1"/>
          </p:nvPr>
        </p:nvSpPr>
        <p:spPr bwMode="gray">
          <a:xfrm>
            <a:off x="539750" y="1484313"/>
            <a:ext cx="8064500" cy="468153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3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17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49" y="2492895"/>
            <a:ext cx="8232775" cy="367295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sz="2400" b="0"/>
            </a:lvl1pPr>
            <a:lvl2pPr marL="0" indent="0">
              <a:spcBef>
                <a:spcPts val="800"/>
              </a:spcBef>
              <a:buFont typeface="Arial" panose="020B0604020202020204" pitchFamily="34" charset="0"/>
              <a:buNone/>
              <a:defRPr sz="2800" b="1" baseline="0"/>
            </a:lvl2pPr>
            <a:lvl3pPr marL="493713" indent="0">
              <a:buNone/>
              <a:defRPr/>
            </a:lvl3pPr>
            <a:lvl4pPr marL="898525" indent="0">
              <a:buFont typeface="Arial" panose="020B0604020202020204" pitchFamily="34" charset="0"/>
              <a:buNone/>
              <a:defRPr/>
            </a:lvl4pPr>
            <a:lvl5pPr marL="898525" indent="0">
              <a:buFont typeface="Arial" panose="020B0604020202020204" pitchFamily="34" charset="0"/>
              <a:buNone/>
              <a:defRPr/>
            </a:lvl5pPr>
          </a:lstStyle>
          <a:p>
            <a:r>
              <a:rPr lang="de-DE" noProof="0" smtClean="0"/>
              <a:t>Kapitelüberschrift</a:t>
            </a:r>
          </a:p>
          <a:p>
            <a:pPr lvl="1"/>
            <a:r>
              <a:rPr lang="de-DE" noProof="0" smtClean="0"/>
              <a:t>Kapitelüberschrift fett</a:t>
            </a:r>
          </a:p>
        </p:txBody>
      </p:sp>
      <p:sp>
        <p:nvSpPr>
          <p:cNvPr id="10" name="ZoneTexte 9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dirty="0" smtClean="0">
                <a:solidFill>
                  <a:schemeClr val="bg1"/>
                </a:solidFill>
                <a:latin typeface="+mn-lt"/>
              </a:rPr>
              <a:t>AGENDA</a:t>
            </a:r>
            <a:endParaRPr lang="de-DE" sz="2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3697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5490" y="-2539"/>
            <a:ext cx="9155891" cy="343153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719 w 10000"/>
              <a:gd name="connsiteY3" fmla="*/ 9987 h 10000"/>
              <a:gd name="connsiteX4" fmla="*/ 0 w 10000"/>
              <a:gd name="connsiteY4" fmla="*/ 10000 h 10000"/>
              <a:gd name="connsiteX5" fmla="*/ 0 w 10000"/>
              <a:gd name="connsiteY5" fmla="*/ 0 h 10000"/>
              <a:gd name="connsiteX0" fmla="*/ 0 w 10007"/>
              <a:gd name="connsiteY0" fmla="*/ 0 h 10000"/>
              <a:gd name="connsiteX1" fmla="*/ 10000 w 10007"/>
              <a:gd name="connsiteY1" fmla="*/ 0 h 10000"/>
              <a:gd name="connsiteX2" fmla="*/ 10007 w 10007"/>
              <a:gd name="connsiteY2" fmla="*/ 6381 h 10000"/>
              <a:gd name="connsiteX3" fmla="*/ 3719 w 10007"/>
              <a:gd name="connsiteY3" fmla="*/ 9987 h 10000"/>
              <a:gd name="connsiteX4" fmla="*/ 0 w 10007"/>
              <a:gd name="connsiteY4" fmla="*/ 10000 h 10000"/>
              <a:gd name="connsiteX5" fmla="*/ 0 w 10007"/>
              <a:gd name="connsiteY5" fmla="*/ 0 h 10000"/>
              <a:gd name="connsiteX0" fmla="*/ 0 w 10007"/>
              <a:gd name="connsiteY0" fmla="*/ 0 h 9987"/>
              <a:gd name="connsiteX1" fmla="*/ 10000 w 10007"/>
              <a:gd name="connsiteY1" fmla="*/ 0 h 9987"/>
              <a:gd name="connsiteX2" fmla="*/ 10007 w 10007"/>
              <a:gd name="connsiteY2" fmla="*/ 6381 h 9987"/>
              <a:gd name="connsiteX3" fmla="*/ 3719 w 10007"/>
              <a:gd name="connsiteY3" fmla="*/ 9987 h 9987"/>
              <a:gd name="connsiteX4" fmla="*/ 0 w 10007"/>
              <a:gd name="connsiteY4" fmla="*/ 9013 h 9987"/>
              <a:gd name="connsiteX5" fmla="*/ 0 w 10007"/>
              <a:gd name="connsiteY5" fmla="*/ 0 h 9987"/>
              <a:gd name="connsiteX0" fmla="*/ 0 w 10000"/>
              <a:gd name="connsiteY0" fmla="*/ 0 h 9025"/>
              <a:gd name="connsiteX1" fmla="*/ 9993 w 10000"/>
              <a:gd name="connsiteY1" fmla="*/ 0 h 9025"/>
              <a:gd name="connsiteX2" fmla="*/ 10000 w 10000"/>
              <a:gd name="connsiteY2" fmla="*/ 6389 h 9025"/>
              <a:gd name="connsiteX3" fmla="*/ 0 w 10000"/>
              <a:gd name="connsiteY3" fmla="*/ 9025 h 9025"/>
              <a:gd name="connsiteX4" fmla="*/ 0 w 10000"/>
              <a:gd name="connsiteY4" fmla="*/ 0 h 9025"/>
              <a:gd name="connsiteX0" fmla="*/ 0 w 10000"/>
              <a:gd name="connsiteY0" fmla="*/ 0 h 10472"/>
              <a:gd name="connsiteX1" fmla="*/ 9993 w 10000"/>
              <a:gd name="connsiteY1" fmla="*/ 0 h 10472"/>
              <a:gd name="connsiteX2" fmla="*/ 10000 w 10000"/>
              <a:gd name="connsiteY2" fmla="*/ 7079 h 10472"/>
              <a:gd name="connsiteX3" fmla="*/ 0 w 10000"/>
              <a:gd name="connsiteY3" fmla="*/ 10000 h 10472"/>
              <a:gd name="connsiteX4" fmla="*/ 0 w 10000"/>
              <a:gd name="connsiteY4" fmla="*/ 0 h 10472"/>
              <a:gd name="connsiteX0" fmla="*/ 0 w 10000"/>
              <a:gd name="connsiteY0" fmla="*/ 0 h 11183"/>
              <a:gd name="connsiteX1" fmla="*/ 9993 w 10000"/>
              <a:gd name="connsiteY1" fmla="*/ 0 h 11183"/>
              <a:gd name="connsiteX2" fmla="*/ 10000 w 10000"/>
              <a:gd name="connsiteY2" fmla="*/ 7079 h 11183"/>
              <a:gd name="connsiteX3" fmla="*/ 0 w 10000"/>
              <a:gd name="connsiteY3" fmla="*/ 10000 h 11183"/>
              <a:gd name="connsiteX4" fmla="*/ 0 w 10000"/>
              <a:gd name="connsiteY4" fmla="*/ 0 h 11183"/>
              <a:gd name="connsiteX0" fmla="*/ 0 w 10000"/>
              <a:gd name="connsiteY0" fmla="*/ 0 h 10948"/>
              <a:gd name="connsiteX1" fmla="*/ 9993 w 10000"/>
              <a:gd name="connsiteY1" fmla="*/ 0 h 10948"/>
              <a:gd name="connsiteX2" fmla="*/ 10000 w 10000"/>
              <a:gd name="connsiteY2" fmla="*/ 7079 h 10948"/>
              <a:gd name="connsiteX3" fmla="*/ 0 w 10000"/>
              <a:gd name="connsiteY3" fmla="*/ 10000 h 10948"/>
              <a:gd name="connsiteX4" fmla="*/ 0 w 10000"/>
              <a:gd name="connsiteY4" fmla="*/ 0 h 10948"/>
              <a:gd name="connsiteX0" fmla="*/ 0 w 10000"/>
              <a:gd name="connsiteY0" fmla="*/ 0 h 11076"/>
              <a:gd name="connsiteX1" fmla="*/ 9993 w 10000"/>
              <a:gd name="connsiteY1" fmla="*/ 0 h 11076"/>
              <a:gd name="connsiteX2" fmla="*/ 10000 w 10000"/>
              <a:gd name="connsiteY2" fmla="*/ 7079 h 11076"/>
              <a:gd name="connsiteX3" fmla="*/ 0 w 10000"/>
              <a:gd name="connsiteY3" fmla="*/ 10000 h 11076"/>
              <a:gd name="connsiteX4" fmla="*/ 0 w 10000"/>
              <a:gd name="connsiteY4" fmla="*/ 0 h 11076"/>
              <a:gd name="connsiteX0" fmla="*/ 0 w 10000"/>
              <a:gd name="connsiteY0" fmla="*/ 0 h 10908"/>
              <a:gd name="connsiteX1" fmla="*/ 9993 w 10000"/>
              <a:gd name="connsiteY1" fmla="*/ 0 h 10908"/>
              <a:gd name="connsiteX2" fmla="*/ 10000 w 10000"/>
              <a:gd name="connsiteY2" fmla="*/ 7079 h 10908"/>
              <a:gd name="connsiteX3" fmla="*/ 0 w 10000"/>
              <a:gd name="connsiteY3" fmla="*/ 10000 h 10908"/>
              <a:gd name="connsiteX4" fmla="*/ 0 w 10000"/>
              <a:gd name="connsiteY4" fmla="*/ 0 h 10908"/>
              <a:gd name="connsiteX0" fmla="*/ 0 w 10000"/>
              <a:gd name="connsiteY0" fmla="*/ 0 h 10903"/>
              <a:gd name="connsiteX1" fmla="*/ 9993 w 10000"/>
              <a:gd name="connsiteY1" fmla="*/ 0 h 10903"/>
              <a:gd name="connsiteX2" fmla="*/ 10000 w 10000"/>
              <a:gd name="connsiteY2" fmla="*/ 7079 h 10903"/>
              <a:gd name="connsiteX3" fmla="*/ 0 w 10000"/>
              <a:gd name="connsiteY3" fmla="*/ 10000 h 10903"/>
              <a:gd name="connsiteX4" fmla="*/ 0 w 10000"/>
              <a:gd name="connsiteY4" fmla="*/ 0 h 10903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171"/>
              <a:gd name="connsiteX1" fmla="*/ 9993 w 10000"/>
              <a:gd name="connsiteY1" fmla="*/ 0 h 11171"/>
              <a:gd name="connsiteX2" fmla="*/ 10000 w 10000"/>
              <a:gd name="connsiteY2" fmla="*/ 7079 h 11171"/>
              <a:gd name="connsiteX3" fmla="*/ 4032 w 10000"/>
              <a:gd name="connsiteY3" fmla="*/ 11028 h 11171"/>
              <a:gd name="connsiteX4" fmla="*/ 0 w 10000"/>
              <a:gd name="connsiteY4" fmla="*/ 10000 h 11171"/>
              <a:gd name="connsiteX5" fmla="*/ 0 w 10000"/>
              <a:gd name="connsiteY5" fmla="*/ 0 h 11171"/>
              <a:gd name="connsiteX0" fmla="*/ 0 w 10000"/>
              <a:gd name="connsiteY0" fmla="*/ 0 h 11031"/>
              <a:gd name="connsiteX1" fmla="*/ 9993 w 10000"/>
              <a:gd name="connsiteY1" fmla="*/ 0 h 11031"/>
              <a:gd name="connsiteX2" fmla="*/ 10000 w 10000"/>
              <a:gd name="connsiteY2" fmla="*/ 7079 h 11031"/>
              <a:gd name="connsiteX3" fmla="*/ 4032 w 10000"/>
              <a:gd name="connsiteY3" fmla="*/ 11028 h 11031"/>
              <a:gd name="connsiteX4" fmla="*/ 0 w 10000"/>
              <a:gd name="connsiteY4" fmla="*/ 10000 h 11031"/>
              <a:gd name="connsiteX5" fmla="*/ 0 w 10000"/>
              <a:gd name="connsiteY5" fmla="*/ 0 h 11031"/>
              <a:gd name="connsiteX0" fmla="*/ 0 w 10000"/>
              <a:gd name="connsiteY0" fmla="*/ 0 h 11048"/>
              <a:gd name="connsiteX1" fmla="*/ 9993 w 10000"/>
              <a:gd name="connsiteY1" fmla="*/ 0 h 11048"/>
              <a:gd name="connsiteX2" fmla="*/ 10000 w 10000"/>
              <a:gd name="connsiteY2" fmla="*/ 7079 h 11048"/>
              <a:gd name="connsiteX3" fmla="*/ 4032 w 10000"/>
              <a:gd name="connsiteY3" fmla="*/ 11028 h 11048"/>
              <a:gd name="connsiteX4" fmla="*/ 0 w 10000"/>
              <a:gd name="connsiteY4" fmla="*/ 10000 h 11048"/>
              <a:gd name="connsiteX5" fmla="*/ 0 w 10000"/>
              <a:gd name="connsiteY5" fmla="*/ 0 h 11048"/>
              <a:gd name="connsiteX0" fmla="*/ 0 w 10010"/>
              <a:gd name="connsiteY0" fmla="*/ 663 h 11048"/>
              <a:gd name="connsiteX1" fmla="*/ 10003 w 10010"/>
              <a:gd name="connsiteY1" fmla="*/ 0 h 11048"/>
              <a:gd name="connsiteX2" fmla="*/ 10010 w 10010"/>
              <a:gd name="connsiteY2" fmla="*/ 7079 h 11048"/>
              <a:gd name="connsiteX3" fmla="*/ 4042 w 10010"/>
              <a:gd name="connsiteY3" fmla="*/ 11028 h 11048"/>
              <a:gd name="connsiteX4" fmla="*/ 10 w 10010"/>
              <a:gd name="connsiteY4" fmla="*/ 10000 h 11048"/>
              <a:gd name="connsiteX5" fmla="*/ 0 w 10010"/>
              <a:gd name="connsiteY5" fmla="*/ 663 h 11048"/>
              <a:gd name="connsiteX0" fmla="*/ 0 w 10010"/>
              <a:gd name="connsiteY0" fmla="*/ 0 h 10385"/>
              <a:gd name="connsiteX1" fmla="*/ 10003 w 10010"/>
              <a:gd name="connsiteY1" fmla="*/ 0 h 10385"/>
              <a:gd name="connsiteX2" fmla="*/ 10010 w 10010"/>
              <a:gd name="connsiteY2" fmla="*/ 6416 h 10385"/>
              <a:gd name="connsiteX3" fmla="*/ 4042 w 10010"/>
              <a:gd name="connsiteY3" fmla="*/ 10365 h 10385"/>
              <a:gd name="connsiteX4" fmla="*/ 10 w 10010"/>
              <a:gd name="connsiteY4" fmla="*/ 9337 h 10385"/>
              <a:gd name="connsiteX5" fmla="*/ 0 w 10010"/>
              <a:gd name="connsiteY5" fmla="*/ 0 h 10385"/>
              <a:gd name="connsiteX0" fmla="*/ 0 w 10003"/>
              <a:gd name="connsiteY0" fmla="*/ 0 h 10404"/>
              <a:gd name="connsiteX1" fmla="*/ 9996 w 10003"/>
              <a:gd name="connsiteY1" fmla="*/ 19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8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1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6"/>
              <a:gd name="connsiteY0" fmla="*/ 0 h 10382"/>
              <a:gd name="connsiteX1" fmla="*/ 10006 w 10006"/>
              <a:gd name="connsiteY1" fmla="*/ 9 h 10382"/>
              <a:gd name="connsiteX2" fmla="*/ 10006 w 10006"/>
              <a:gd name="connsiteY2" fmla="*/ 6413 h 10382"/>
              <a:gd name="connsiteX3" fmla="*/ 4038 w 10006"/>
              <a:gd name="connsiteY3" fmla="*/ 10362 h 10382"/>
              <a:gd name="connsiteX4" fmla="*/ 6 w 10006"/>
              <a:gd name="connsiteY4" fmla="*/ 9334 h 10382"/>
              <a:gd name="connsiteX5" fmla="*/ 0 w 10006"/>
              <a:gd name="connsiteY5" fmla="*/ 0 h 1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6" h="10382">
                <a:moveTo>
                  <a:pt x="0" y="0"/>
                </a:moveTo>
                <a:lnTo>
                  <a:pt x="10006" y="9"/>
                </a:lnTo>
                <a:cubicBezTo>
                  <a:pt x="10008" y="2369"/>
                  <a:pt x="10004" y="4054"/>
                  <a:pt x="10006" y="6413"/>
                </a:cubicBezTo>
                <a:cubicBezTo>
                  <a:pt x="7507" y="10149"/>
                  <a:pt x="4067" y="10394"/>
                  <a:pt x="4038" y="10362"/>
                </a:cubicBezTo>
                <a:cubicBezTo>
                  <a:pt x="4002" y="10407"/>
                  <a:pt x="1781" y="10476"/>
                  <a:pt x="6" y="9334"/>
                </a:cubicBezTo>
                <a:cubicBezTo>
                  <a:pt x="3" y="6222"/>
                  <a:pt x="3" y="3112"/>
                  <a:pt x="0" y="0"/>
                </a:cubicBezTo>
                <a:close/>
              </a:path>
            </a:pathLst>
          </a:custGeom>
        </p:spPr>
        <p:txBody>
          <a:bodyPr/>
          <a:lstStyle>
            <a:lvl1pPr marL="271463" marR="0" indent="-271463" algn="l" defTabSz="914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F022B"/>
              </a:buClr>
              <a:buSzPct val="90000"/>
              <a:buFontTx/>
              <a:buBlip>
                <a:blip r:embed="rId2"/>
              </a:buBlip>
              <a:tabLst/>
              <a:defRPr/>
            </a:lvl1pPr>
          </a:lstStyle>
          <a:p>
            <a:r>
              <a:rPr lang="de-DE" noProof="0" dirty="0" smtClean="0"/>
              <a:t>Auf Icon klicken, um Bild einzufügen</a:t>
            </a:r>
          </a:p>
          <a:p>
            <a:endParaRPr lang="de-DE" noProof="0" dirty="0"/>
          </a:p>
        </p:txBody>
      </p:sp>
      <p:grpSp>
        <p:nvGrpSpPr>
          <p:cNvPr id="14" name="Groupe 13"/>
          <p:cNvGrpSpPr/>
          <p:nvPr userDrawn="1"/>
        </p:nvGrpSpPr>
        <p:grpSpPr bwMode="gray">
          <a:xfrm>
            <a:off x="0" y="1735560"/>
            <a:ext cx="9145587" cy="1773238"/>
            <a:chOff x="0" y="1958231"/>
            <a:chExt cx="9145587" cy="1773238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19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0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24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8559"/>
            <a:ext cx="6480522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 PRÄSENTATION</a:t>
            </a:r>
            <a:endParaRPr lang="de-DE" noProof="0"/>
          </a:p>
        </p:txBody>
      </p:sp>
      <p:sp>
        <p:nvSpPr>
          <p:cNvPr id="2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4553"/>
            <a:ext cx="6480522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Untertitel</a:t>
            </a:r>
            <a:endParaRPr lang="de-DE" noProof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2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2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26" name="Connecteur droit 10"/>
          <p:cNvCxnSpPr/>
          <p:nvPr userDrawn="1"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CopyRight" descr="CopyRight"/>
          <p:cNvSpPr txBox="1"/>
          <p:nvPr userDrawn="1"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64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835" y="1484312"/>
            <a:ext cx="8064614" cy="46815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316180"/>
            <a:ext cx="8064500" cy="332546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656624"/>
            <a:ext cx="8064576" cy="269875"/>
          </a:xfrm>
          <a:prstGeom prst="rect">
            <a:avLst/>
          </a:prstGeom>
        </p:spPr>
        <p:txBody>
          <a:bodyPr vert="horz" lIns="0" tIns="45710" rIns="0" bIns="45710" rtlCol="0" anchor="ctr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fr-FR" sz="1800" cap="all" smtClean="0">
                <a:solidFill>
                  <a:srgbClr val="CF022B"/>
                </a:solidFill>
                <a:latin typeface="+mj-lt"/>
                <a:ea typeface="+mj-ea"/>
                <a:cs typeface="+mj-cs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GB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de-DE" noProof="0" dirty="0" smtClean="0"/>
              <a:t>UNTERTITEL</a:t>
            </a:r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617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4" hasCustomPrompt="1"/>
          </p:nvPr>
        </p:nvSpPr>
        <p:spPr bwMode="gray">
          <a:xfrm>
            <a:off x="4716016" y="1484313"/>
            <a:ext cx="3888234" cy="467906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smtClean="0"/>
              <a:t>Text Level eins</a:t>
            </a:r>
          </a:p>
          <a:p>
            <a:pPr lvl="1"/>
            <a:r>
              <a:rPr lang="de-DE" noProof="0" smtClean="0"/>
              <a:t>Text Level zwei</a:t>
            </a:r>
          </a:p>
          <a:p>
            <a:pPr lvl="2"/>
            <a:r>
              <a:rPr lang="de-DE" noProof="0" smtClean="0"/>
              <a:t>Text </a:t>
            </a:r>
            <a:r>
              <a:rPr lang="de-DE" smtClean="0"/>
              <a:t>Level drei</a:t>
            </a:r>
            <a:endParaRPr lang="de-DE" noProof="0" dirty="0" smtClean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84313"/>
            <a:ext cx="3888235" cy="46785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78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rectangula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83767"/>
            <a:ext cx="4032251" cy="468153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88024" y="1474788"/>
            <a:ext cx="4355975" cy="46910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Auf Icon klicken, um Bild e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0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2661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190697"/>
            <a:ext cx="8064500" cy="790031"/>
          </a:xfrm>
          <a:prstGeom prst="rect">
            <a:avLst/>
          </a:prstGeom>
        </p:spPr>
        <p:txBody>
          <a:bodyPr vert="horz" lIns="0" tIns="45710" rIns="0" bIns="45710" rtlCol="0" anchor="b">
            <a:noAutofit/>
          </a:bodyPr>
          <a:lstStyle/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5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11" name="Connecteur droit 10"/>
          <p:cNvCxnSpPr/>
          <p:nvPr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 bwMode="gray">
          <a:xfrm>
            <a:off x="539750" y="1054174"/>
            <a:ext cx="641823" cy="0"/>
          </a:xfrm>
          <a:prstGeom prst="line">
            <a:avLst/>
          </a:prstGeom>
          <a:ln w="12700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idx="1"/>
          </p:nvPr>
        </p:nvSpPr>
        <p:spPr bwMode="gray">
          <a:xfrm>
            <a:off x="539750" y="1484314"/>
            <a:ext cx="8064500" cy="4681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2" name="FooterCopyRight" descr="CopyRight"/>
          <p:cNvSpPr txBox="1"/>
          <p:nvPr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 bwMode="gray">
          <a:xfrm>
            <a:off x="-279400" y="-325957"/>
            <a:ext cx="9697020" cy="7448449"/>
            <a:chOff x="-279400" y="-325957"/>
            <a:chExt cx="9697020" cy="7448449"/>
          </a:xfrm>
        </p:grpSpPr>
        <p:cxnSp>
          <p:nvCxnSpPr>
            <p:cNvPr id="9" name="Gerade Verbindung 8"/>
            <p:cNvCxnSpPr/>
            <p:nvPr userDrawn="1"/>
          </p:nvCxnSpPr>
          <p:spPr bwMode="gray">
            <a:xfrm>
              <a:off x="-27940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>
              <a:off x="-27940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>
              <a:off x="-27940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925252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925252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>
              <a:off x="925252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85217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4572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85217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4572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806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49" r:id="rId2"/>
    <p:sldLayoutId id="2147483670" r:id="rId3"/>
    <p:sldLayoutId id="2147483650" r:id="rId4"/>
    <p:sldLayoutId id="2147483662" r:id="rId5"/>
    <p:sldLayoutId id="2147483656" r:id="rId6"/>
    <p:sldLayoutId id="2147483663" r:id="rId7"/>
    <p:sldLayoutId id="2147483664" r:id="rId8"/>
    <p:sldLayoutId id="2147483660" r:id="rId9"/>
    <p:sldLayoutId id="2147483657" r:id="rId10"/>
    <p:sldLayoutId id="2147483658" r:id="rId11"/>
    <p:sldLayoutId id="2147483659" r:id="rId12"/>
    <p:sldLayoutId id="2147483654" r:id="rId13"/>
    <p:sldLayoutId id="2147483655" r:id="rId14"/>
    <p:sldLayoutId id="2147483667" r:id="rId15"/>
    <p:sldLayoutId id="2147483672" r:id="rId16"/>
  </p:sldLayoutIdLst>
  <p:timing>
    <p:tnLst>
      <p:par>
        <p:cTn id="1" dur="indefinite" restart="never" nodeType="tmRoot"/>
      </p:par>
    </p:tnLst>
  </p:timing>
  <p:hf hdr="0"/>
  <p:txStyles>
    <p:titleStyle>
      <a:lvl1pPr algn="l" defTabSz="914199" rtl="0" eaLnBrk="1" latinLnBrk="0" hangingPunct="1">
        <a:lnSpc>
          <a:spcPct val="90000"/>
        </a:lnSpc>
        <a:spcBef>
          <a:spcPct val="0"/>
        </a:spcBef>
        <a:buNone/>
        <a:defRPr sz="2200" kern="1200" cap="all" baseline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71463" indent="-271463" algn="l" defTabSz="914199" rtl="0" eaLnBrk="1" latinLnBrk="0" hangingPunct="1">
        <a:spcBef>
          <a:spcPts val="1200"/>
        </a:spcBef>
        <a:buClr>
          <a:srgbClr val="CF022B"/>
        </a:buClr>
        <a:buSzPct val="90000"/>
        <a:buFontTx/>
        <a:buBlip>
          <a:blip r:embed="rId23"/>
        </a:buBlip>
        <a:tabLst/>
        <a:defRPr sz="2000" kern="1200" normalizeH="0" baseline="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52000" algn="l" defTabSz="914199" rtl="0" eaLnBrk="1" latinLnBrk="0" hangingPunct="1">
        <a:spcBef>
          <a:spcPts val="411"/>
        </a:spcBef>
        <a:buClr>
          <a:schemeClr val="accent4"/>
        </a:buClr>
        <a:buSzPct val="100000"/>
        <a:buFont typeface="Wingdings" panose="05000000000000000000" pitchFamily="2" charset="2"/>
        <a:buChar char="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89013" marR="0" indent="-180000" algn="l" defTabSz="725488" rtl="0" eaLnBrk="1" fontAlgn="auto" latinLnBrk="0" hangingPunct="1">
        <a:lnSpc>
          <a:spcPct val="100000"/>
        </a:lnSpc>
        <a:spcBef>
          <a:spcPts val="411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lang="fr-FR" sz="160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90600" indent="-206375" algn="l" defTabSz="914199" rtl="0" eaLnBrk="1" latinLnBrk="0" hangingPunct="1">
        <a:spcBef>
          <a:spcPts val="0"/>
        </a:spcBef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985838" marR="0" indent="-198438" algn="l" defTabSz="914199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8890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95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chUpDate</a:t>
            </a:r>
            <a:r>
              <a:rPr lang="de-DE" dirty="0" smtClean="0"/>
              <a:t> Status</a:t>
            </a:r>
            <a:endParaRPr lang="de-DE" dirty="0"/>
          </a:p>
        </p:txBody>
      </p:sp>
      <p:sp>
        <p:nvSpPr>
          <p:cNvPr id="5" name="Untertitel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Stand: 22.02.2017</a:t>
            </a:r>
            <a:endParaRPr lang="de-DE" dirty="0"/>
          </a:p>
        </p:txBody>
      </p:sp>
      <p:sp>
        <p:nvSpPr>
          <p:cNvPr id="8" name="SopraClaim"/>
          <p:cNvSpPr txBox="1"/>
          <p:nvPr/>
        </p:nvSpPr>
        <p:spPr bwMode="gray">
          <a:xfrm>
            <a:off x="438666" y="6400987"/>
            <a:ext cx="269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accent1"/>
                </a:solidFill>
              </a:rPr>
              <a:t>Delivering</a:t>
            </a:r>
            <a:r>
              <a:rPr lang="de-DE" sz="1200" dirty="0" smtClean="0">
                <a:solidFill>
                  <a:schemeClr val="accent1"/>
                </a:solidFill>
              </a:rPr>
              <a:t> Transformation. </a:t>
            </a:r>
            <a:r>
              <a:rPr lang="de-DE" sz="1200" dirty="0" err="1" smtClean="0">
                <a:solidFill>
                  <a:schemeClr val="accent1"/>
                </a:solidFill>
              </a:rPr>
              <a:t>Together</a:t>
            </a:r>
            <a:r>
              <a:rPr lang="de-DE" sz="1200" dirty="0" smtClean="0">
                <a:solidFill>
                  <a:schemeClr val="accent1"/>
                </a:solidFill>
              </a:rPr>
              <a:t>.</a:t>
            </a:r>
            <a:endParaRPr lang="de-DE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36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Blockchain</a:t>
            </a:r>
            <a:endParaRPr lang="de-DE" dirty="0"/>
          </a:p>
          <a:p>
            <a:pPr lvl="0"/>
            <a:r>
              <a:rPr lang="de-DE" dirty="0" err="1"/>
              <a:t>CoreBanking</a:t>
            </a:r>
            <a:endParaRPr lang="de-DE" dirty="0"/>
          </a:p>
          <a:p>
            <a:pPr lvl="0"/>
            <a:r>
              <a:rPr lang="de-DE" dirty="0" err="1"/>
              <a:t>AxWay</a:t>
            </a:r>
            <a:r>
              <a:rPr lang="de-DE" dirty="0"/>
              <a:t>/ </a:t>
            </a:r>
            <a:r>
              <a:rPr lang="de-DE" dirty="0" err="1" smtClean="0"/>
              <a:t>Apiomat</a:t>
            </a:r>
            <a:endParaRPr lang="de-DE" dirty="0"/>
          </a:p>
          <a:p>
            <a:pPr lvl="0"/>
            <a:r>
              <a:rPr lang="de-DE" dirty="0" err="1" smtClean="0"/>
              <a:t>Themenclustermap</a:t>
            </a:r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hemenspeicher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?</a:t>
            </a:r>
            <a:endParaRPr lang="de-DE" dirty="0"/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Nächste Schritt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ie geht es weite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49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Konzeption zum Aufbau eines </a:t>
            </a:r>
            <a:r>
              <a:rPr lang="de-DE" dirty="0" err="1" smtClean="0"/>
              <a:t>Blockchain</a:t>
            </a:r>
            <a:r>
              <a:rPr lang="de-DE" dirty="0" smtClean="0"/>
              <a:t> Prototyps</a:t>
            </a:r>
          </a:p>
          <a:p>
            <a:pPr lvl="0"/>
            <a:r>
              <a:rPr lang="de-DE" dirty="0" smtClean="0"/>
              <a:t>Aufbau einer </a:t>
            </a:r>
            <a:r>
              <a:rPr lang="de-DE" dirty="0" err="1" smtClean="0"/>
              <a:t>Continuous</a:t>
            </a:r>
            <a:r>
              <a:rPr lang="de-DE" dirty="0" smtClean="0"/>
              <a:t> Integration Infrastruktur</a:t>
            </a:r>
          </a:p>
          <a:p>
            <a:pPr lvl="0"/>
            <a:r>
              <a:rPr lang="de-DE" dirty="0" err="1" smtClean="0"/>
              <a:t>CoreBanking</a:t>
            </a:r>
            <a:r>
              <a:rPr lang="de-DE" dirty="0" smtClean="0"/>
              <a:t> Prototyp erweitern</a:t>
            </a:r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Nächste Schritt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ie geht es weite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7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7" name="ContactAddress"/>
          <p:cNvSpPr txBox="1"/>
          <p:nvPr/>
        </p:nvSpPr>
        <p:spPr bwMode="gray">
          <a:xfrm>
            <a:off x="418356" y="5118645"/>
            <a:ext cx="41418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opra Steria Consulting</a:t>
            </a:r>
          </a:p>
          <a:p>
            <a:r>
              <a:rPr lang="en-US" sz="1400" dirty="0"/>
              <a:t>Business Unit Promotional &amp; Cooperative </a:t>
            </a:r>
            <a:r>
              <a:rPr lang="en-US" sz="1400" dirty="0" smtClean="0"/>
              <a:t>Banks</a:t>
            </a:r>
          </a:p>
          <a:p>
            <a:r>
              <a:rPr lang="de-DE" sz="1400" dirty="0"/>
              <a:t>Unit Banking Java Mobile Web </a:t>
            </a:r>
            <a:r>
              <a:rPr lang="de-DE" sz="1400" dirty="0" smtClean="0"/>
              <a:t>(Klaudio Misselwitz)</a:t>
            </a:r>
            <a:endParaRPr lang="de-DE" sz="1400" dirty="0"/>
          </a:p>
          <a:p>
            <a:endParaRPr lang="de-DE" sz="1400" dirty="0" smtClean="0"/>
          </a:p>
          <a:p>
            <a:r>
              <a:rPr lang="de-DE" sz="1400" dirty="0" smtClean="0"/>
              <a:t>www.soprasteria.de</a:t>
            </a:r>
            <a:endParaRPr lang="de-DE" sz="1400" dirty="0"/>
          </a:p>
        </p:txBody>
      </p:sp>
      <p:sp>
        <p:nvSpPr>
          <p:cNvPr id="2" name="Rectangle 1"/>
          <p:cNvSpPr/>
          <p:nvPr/>
        </p:nvSpPr>
        <p:spPr bwMode="gray">
          <a:xfrm>
            <a:off x="4894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" name="ZoneTexte 2"/>
          <p:cNvSpPr txBox="1"/>
          <p:nvPr/>
        </p:nvSpPr>
        <p:spPr bwMode="gray">
          <a:xfrm>
            <a:off x="18988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Michael ENZ</a:t>
            </a:r>
            <a:endParaRPr lang="de-DE" sz="800" b="1" dirty="0" smtClean="0">
              <a:solidFill>
                <a:schemeClr val="tx2"/>
              </a:solidFill>
            </a:endParaRP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9" name="ContactBusinessCard"/>
          <p:cNvSpPr txBox="1"/>
          <p:nvPr/>
        </p:nvSpPr>
        <p:spPr bwMode="gray">
          <a:xfrm>
            <a:off x="18822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78 661 2752</a:t>
            </a:r>
            <a:endParaRPr lang="de-DE" sz="800" dirty="0"/>
          </a:p>
          <a:p>
            <a:pPr algn="r"/>
            <a:r>
              <a:rPr lang="de-DE" sz="800" dirty="0" smtClean="0"/>
              <a:t>Michael.Enz@soprasteria.com</a:t>
            </a:r>
            <a:endParaRPr lang="de-DE" sz="800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418356" y="2360755"/>
            <a:ext cx="206768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66700" lvl="0" indent="-266700">
              <a:spcAft>
                <a:spcPts val="600"/>
              </a:spcAft>
              <a:buSzPct val="70000"/>
              <a:defRPr/>
            </a:pPr>
            <a:r>
              <a:rPr lang="de-DE" sz="1400" b="1" dirty="0" smtClean="0"/>
              <a:t>IHRE </a:t>
            </a:r>
            <a:r>
              <a:rPr lang="de-DE" sz="1400" b="1" dirty="0" smtClean="0"/>
              <a:t>ANSPRECHPARTNER</a:t>
            </a:r>
            <a:endParaRPr lang="de-DE" sz="1400" b="1" dirty="0"/>
          </a:p>
        </p:txBody>
      </p:sp>
      <p:pic>
        <p:nvPicPr>
          <p:cNvPr id="4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4114" y="2844394"/>
            <a:ext cx="1914754" cy="584606"/>
          </a:xfrm>
          <a:prstGeom prst="rect">
            <a:avLst/>
          </a:prstGeom>
        </p:spPr>
      </p:pic>
      <p:sp>
        <p:nvSpPr>
          <p:cNvPr id="13" name="Rectangle 1"/>
          <p:cNvSpPr/>
          <p:nvPr/>
        </p:nvSpPr>
        <p:spPr bwMode="gray">
          <a:xfrm>
            <a:off x="40962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4" name="ZoneTexte 2"/>
          <p:cNvSpPr txBox="1"/>
          <p:nvPr/>
        </p:nvSpPr>
        <p:spPr bwMode="gray">
          <a:xfrm>
            <a:off x="55056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Christian ADAM</a:t>
            </a:r>
            <a:endParaRPr lang="de-DE" sz="800" b="1" dirty="0" smtClean="0">
              <a:solidFill>
                <a:schemeClr val="tx2"/>
              </a:solidFill>
            </a:endParaRP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15" name="ContactBusinessCard"/>
          <p:cNvSpPr txBox="1"/>
          <p:nvPr/>
        </p:nvSpPr>
        <p:spPr bwMode="gray">
          <a:xfrm>
            <a:off x="54890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51 4062 8356</a:t>
            </a:r>
            <a:endParaRPr lang="de-DE" sz="800" dirty="0"/>
          </a:p>
          <a:p>
            <a:pPr algn="r"/>
            <a:r>
              <a:rPr lang="de-DE" sz="800" dirty="0" smtClean="0"/>
              <a:t>Christian.Adam@soprasteria.com</a:t>
            </a:r>
            <a:endParaRPr lang="de-DE" sz="800" dirty="0"/>
          </a:p>
        </p:txBody>
      </p:sp>
      <p:pic>
        <p:nvPicPr>
          <p:cNvPr id="16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20914" y="2844394"/>
            <a:ext cx="1914754" cy="584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28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2" name="LogoDE_Gros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91680" y="2996952"/>
            <a:ext cx="5744261" cy="175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11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271463" indent="-270000"/>
            <a:r>
              <a:rPr lang="de-DE" dirty="0" smtClean="0"/>
              <a:t>1|Idee und Ziele</a:t>
            </a:r>
          </a:p>
          <a:p>
            <a:pPr marL="271463" indent="-270000"/>
            <a:r>
              <a:rPr lang="de-DE" dirty="0" smtClean="0"/>
              <a:t>2|Organisation</a:t>
            </a:r>
            <a:endParaRPr lang="de-DE" dirty="0"/>
          </a:p>
          <a:p>
            <a:pPr marL="270000" indent="-270000"/>
            <a:r>
              <a:rPr lang="de-DE" dirty="0"/>
              <a:t>3</a:t>
            </a:r>
            <a:r>
              <a:rPr lang="de-DE" dirty="0" smtClean="0"/>
              <a:t>|Bestandsaufnahme</a:t>
            </a:r>
            <a:endParaRPr lang="de-DE" dirty="0"/>
          </a:p>
          <a:p>
            <a:pPr marL="270000" indent="-270000"/>
            <a:r>
              <a:rPr lang="de-DE" dirty="0"/>
              <a:t>4</a:t>
            </a:r>
            <a:r>
              <a:rPr lang="de-DE" dirty="0" smtClean="0"/>
              <a:t>|Themenspeicher</a:t>
            </a:r>
            <a:endParaRPr lang="de-DE" dirty="0" smtClean="0"/>
          </a:p>
          <a:p>
            <a:pPr marL="270000" indent="-270000"/>
            <a:r>
              <a:rPr lang="de-DE" dirty="0"/>
              <a:t>5</a:t>
            </a:r>
            <a:r>
              <a:rPr lang="de-DE" dirty="0" smtClean="0"/>
              <a:t>|Nächste Schritte</a:t>
            </a:r>
            <a:endParaRPr lang="de-DE" dirty="0"/>
          </a:p>
        </p:txBody>
      </p:sp>
      <p:sp>
        <p:nvSpPr>
          <p:cNvPr id="6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21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289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Idee</a:t>
            </a:r>
            <a:endParaRPr lang="de-DE" dirty="0" smtClean="0"/>
          </a:p>
          <a:p>
            <a:pPr lvl="1"/>
            <a:r>
              <a:rPr lang="de-DE" sz="1600" dirty="0" smtClean="0"/>
              <a:t>Schaffung </a:t>
            </a:r>
            <a:r>
              <a:rPr lang="de-DE" sz="1600" dirty="0"/>
              <a:t>einer Plattform zur Erprobung marktrelevanter neuer Technologien im Java-Umfeld für die Mitarbeiter</a:t>
            </a:r>
          </a:p>
          <a:p>
            <a:pPr lvl="1"/>
            <a:r>
              <a:rPr lang="de-DE" sz="1600" dirty="0"/>
              <a:t>Basis ist das Weiterbildungsbudget je Mitarbeiter</a:t>
            </a:r>
          </a:p>
          <a:p>
            <a:pPr lvl="1"/>
            <a:r>
              <a:rPr lang="de-DE" sz="1600" dirty="0"/>
              <a:t>Budget kann durch F&amp;E erweitert werden</a:t>
            </a:r>
          </a:p>
          <a:p>
            <a:pPr lvl="0"/>
            <a:r>
              <a:rPr lang="de-DE" dirty="0" smtClean="0"/>
              <a:t>Ziele</a:t>
            </a:r>
            <a:endParaRPr lang="de-DE" dirty="0" smtClean="0"/>
          </a:p>
          <a:p>
            <a:pPr lvl="1"/>
            <a:r>
              <a:rPr lang="de-DE" sz="1600" dirty="0" smtClean="0"/>
              <a:t>Sprachfähigkeit </a:t>
            </a:r>
            <a:r>
              <a:rPr lang="de-DE" sz="1600" dirty="0"/>
              <a:t>zu aktuellen technologischen Entwicklungen</a:t>
            </a:r>
          </a:p>
          <a:p>
            <a:pPr lvl="1"/>
            <a:r>
              <a:rPr lang="de-DE" sz="1600" dirty="0" err="1"/>
              <a:t>Know-How</a:t>
            </a:r>
            <a:r>
              <a:rPr lang="de-DE" sz="1600" dirty="0"/>
              <a:t> Aufbau (technologisch und methodisch)</a:t>
            </a:r>
          </a:p>
          <a:p>
            <a:pPr lvl="1"/>
            <a:r>
              <a:rPr lang="de-DE" sz="1600" dirty="0"/>
              <a:t>Wissensaustausch innerhalb des Teilnehmerkreises/Vernetzung</a:t>
            </a:r>
          </a:p>
          <a:p>
            <a:pPr lvl="1"/>
            <a:r>
              <a:rPr lang="de-DE" sz="1600" dirty="0"/>
              <a:t>Themen-Bearbeitung erfolgt agil in unterschiedlichen </a:t>
            </a:r>
            <a:r>
              <a:rPr lang="de-DE" sz="1600" dirty="0" smtClean="0"/>
              <a:t>Teamsettings</a:t>
            </a:r>
          </a:p>
          <a:p>
            <a:r>
              <a:rPr lang="de-DE" dirty="0"/>
              <a:t>Aktivitäten</a:t>
            </a:r>
          </a:p>
          <a:p>
            <a:pPr lvl="1"/>
            <a:r>
              <a:rPr lang="de-DE" sz="1600" dirty="0"/>
              <a:t>Aufbau Prototyp eines modularen </a:t>
            </a:r>
            <a:r>
              <a:rPr lang="de-DE" sz="1600" dirty="0" err="1"/>
              <a:t>CoreBanking</a:t>
            </a:r>
            <a:r>
              <a:rPr lang="de-DE" sz="1600" dirty="0"/>
              <a:t>-Systems mit Multikanal-Frontend</a:t>
            </a:r>
          </a:p>
          <a:p>
            <a:pPr lvl="1"/>
            <a:r>
              <a:rPr lang="de-DE" sz="1600" dirty="0"/>
              <a:t>Dient als Basis-Plattform zur </a:t>
            </a:r>
            <a:r>
              <a:rPr lang="de-DE" sz="1600" dirty="0" err="1"/>
              <a:t>Verprobung</a:t>
            </a:r>
            <a:r>
              <a:rPr lang="de-DE" sz="1600" dirty="0"/>
              <a:t> neuer Paradigmen, Frameworks, Schnittstellen, (Cloud-)Services, usw.</a:t>
            </a:r>
          </a:p>
          <a:p>
            <a:pPr lvl="1"/>
            <a:r>
              <a:rPr lang="de-DE" sz="1600" dirty="0"/>
              <a:t>Pipeline: Referenzarchitektur, Mobile-Frameworks, </a:t>
            </a:r>
            <a:r>
              <a:rPr lang="de-DE" sz="1600" dirty="0" err="1"/>
              <a:t>Blockchain</a:t>
            </a:r>
            <a:r>
              <a:rPr lang="de-DE" sz="1600" dirty="0"/>
              <a:t>, Testautomatisierung, </a:t>
            </a:r>
            <a:r>
              <a:rPr lang="de-DE" sz="1600" dirty="0" err="1"/>
              <a:t>InMemory</a:t>
            </a:r>
            <a:r>
              <a:rPr lang="de-DE" sz="1600" dirty="0"/>
              <a:t> DBs, UI-Technologien, </a:t>
            </a:r>
            <a:r>
              <a:rPr lang="de-DE" sz="1600" dirty="0" err="1"/>
              <a:t>AxWay</a:t>
            </a:r>
            <a:r>
              <a:rPr lang="de-DE" sz="1600" dirty="0"/>
              <a:t>, </a:t>
            </a:r>
            <a:r>
              <a:rPr lang="de-DE" sz="1600" dirty="0" err="1"/>
              <a:t>Apiomat</a:t>
            </a:r>
            <a:endParaRPr lang="de-DE" sz="1600" dirty="0"/>
          </a:p>
          <a:p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40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Termine / Vorgehen / Ansprechpartner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54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Termine</a:t>
            </a:r>
            <a:endParaRPr lang="de-DE" dirty="0" smtClean="0"/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alle 6 Wochen mit alle Unit </a:t>
            </a:r>
            <a:r>
              <a:rPr lang="de-DE" dirty="0" err="1" smtClean="0"/>
              <a:t>MA‘s</a:t>
            </a:r>
            <a:endParaRPr lang="de-DE" dirty="0" smtClean="0"/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der aktiven Teilnehmer alle 2 Wochen</a:t>
            </a:r>
          </a:p>
          <a:p>
            <a:pPr lvl="1"/>
            <a:r>
              <a:rPr lang="de-DE" dirty="0" smtClean="0"/>
              <a:t>Treffen in der GS FFM alle 2 Wochen, alternierend zur </a:t>
            </a:r>
            <a:r>
              <a:rPr lang="de-DE" dirty="0" err="1" smtClean="0"/>
              <a:t>Telko</a:t>
            </a:r>
            <a:endParaRPr lang="de-DE" dirty="0" smtClean="0"/>
          </a:p>
          <a:p>
            <a:pPr lvl="0"/>
            <a:r>
              <a:rPr lang="de-DE" dirty="0" smtClean="0"/>
              <a:t>Vorgehen</a:t>
            </a:r>
            <a:endParaRPr lang="de-DE" dirty="0" smtClean="0"/>
          </a:p>
          <a:p>
            <a:pPr lvl="1"/>
            <a:r>
              <a:rPr lang="de-DE" dirty="0"/>
              <a:t>Iterationen </a:t>
            </a:r>
            <a:r>
              <a:rPr lang="de-DE" dirty="0" smtClean="0"/>
              <a:t>im </a:t>
            </a:r>
            <a:r>
              <a:rPr lang="de-DE" dirty="0"/>
              <a:t>6 </a:t>
            </a:r>
            <a:r>
              <a:rPr lang="de-DE" dirty="0" smtClean="0"/>
              <a:t>Wochen </a:t>
            </a:r>
            <a:r>
              <a:rPr lang="de-DE" dirty="0" err="1" smtClean="0"/>
              <a:t>Rythmus</a:t>
            </a:r>
            <a:endParaRPr lang="de-DE" dirty="0"/>
          </a:p>
          <a:p>
            <a:pPr lvl="2"/>
            <a:r>
              <a:rPr lang="de-DE" dirty="0" smtClean="0"/>
              <a:t>Pull-Prinzip: am Anfang jeder Iteration kann jeder MA entscheiden ob und mit welchem Thema er sich am </a:t>
            </a:r>
            <a:r>
              <a:rPr lang="de-DE" dirty="0" err="1" smtClean="0"/>
              <a:t>TechUpdate</a:t>
            </a:r>
            <a:r>
              <a:rPr lang="de-DE" dirty="0" smtClean="0"/>
              <a:t> beteiligen möchte und welche Ziele er für sich festlegt</a:t>
            </a:r>
          </a:p>
          <a:p>
            <a:pPr lvl="2"/>
            <a:r>
              <a:rPr lang="de-DE" dirty="0" smtClean="0"/>
              <a:t>Themenbearbeitung selbstständig oder im kleinen Team, regelmäßiger Austausch mit den anderen aktiven Teilnehmern</a:t>
            </a:r>
            <a:endParaRPr lang="de-DE" dirty="0" smtClean="0"/>
          </a:p>
          <a:p>
            <a:pPr lvl="0"/>
            <a:r>
              <a:rPr lang="de-DE" dirty="0" smtClean="0"/>
              <a:t>Ansprechpartner</a:t>
            </a:r>
            <a:endParaRPr lang="de-DE" dirty="0" smtClean="0"/>
          </a:p>
          <a:p>
            <a:pPr lvl="1"/>
            <a:r>
              <a:rPr lang="de-DE" dirty="0" smtClean="0"/>
              <a:t>Michael Enz</a:t>
            </a:r>
          </a:p>
          <a:p>
            <a:pPr lvl="1"/>
            <a:r>
              <a:rPr lang="de-DE" dirty="0" smtClean="0"/>
              <a:t>Christian Adam</a:t>
            </a:r>
          </a:p>
          <a:p>
            <a:pPr lvl="1"/>
            <a:r>
              <a:rPr lang="de-DE" dirty="0" smtClean="0"/>
              <a:t>Klaudio Misselwitz</a:t>
            </a:r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" r="81"/>
          <a:stretch/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können wir?</a:t>
            </a:r>
            <a:endParaRPr lang="de-DE" dirty="0"/>
          </a:p>
        </p:txBody>
      </p:sp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627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UseCases</a:t>
            </a:r>
            <a:r>
              <a:rPr lang="de-DE" dirty="0"/>
              <a:t>/ </a:t>
            </a:r>
            <a:r>
              <a:rPr lang="de-DE" dirty="0" smtClean="0"/>
              <a:t>Datenschema</a:t>
            </a:r>
            <a:endParaRPr lang="de-DE" dirty="0"/>
          </a:p>
          <a:p>
            <a:pPr lvl="0"/>
            <a:r>
              <a:rPr lang="de-DE" dirty="0"/>
              <a:t>AWS Instanz</a:t>
            </a:r>
          </a:p>
          <a:p>
            <a:pPr lvl="0"/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Code</a:t>
            </a:r>
          </a:p>
          <a:p>
            <a:pPr lvl="1"/>
            <a:r>
              <a:rPr lang="de-DE" dirty="0"/>
              <a:t>Ticketsystem</a:t>
            </a:r>
          </a:p>
          <a:p>
            <a:pPr lvl="1"/>
            <a:r>
              <a:rPr lang="de-DE" dirty="0"/>
              <a:t>[Links/ Einladung / …]</a:t>
            </a:r>
          </a:p>
          <a:p>
            <a:pPr lvl="0"/>
            <a:r>
              <a:rPr lang="de-DE" dirty="0" err="1"/>
              <a:t>CoreBanking</a:t>
            </a:r>
            <a:r>
              <a:rPr lang="de-DE" dirty="0"/>
              <a:t> </a:t>
            </a:r>
            <a:r>
              <a:rPr lang="de-DE" dirty="0" smtClean="0"/>
              <a:t>Prototyp</a:t>
            </a:r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könn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Themenspeicher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598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 Sopra Steria Consulting">
  <a:themeElements>
    <a:clrScheme name="Personnalisé 1">
      <a:dk1>
        <a:srgbClr val="232323"/>
      </a:dk1>
      <a:lt1>
        <a:srgbClr val="FFFFFF"/>
      </a:lt1>
      <a:dk2>
        <a:srgbClr val="232323"/>
      </a:dk2>
      <a:lt2>
        <a:srgbClr val="8C2350"/>
      </a:lt2>
      <a:accent1>
        <a:srgbClr val="CF022B"/>
      </a:accent1>
      <a:accent2>
        <a:srgbClr val="960000"/>
      </a:accent2>
      <a:accent3>
        <a:srgbClr val="E14B0F"/>
      </a:accent3>
      <a:accent4>
        <a:srgbClr val="F07D00"/>
      </a:accent4>
      <a:accent5>
        <a:srgbClr val="FAAA0A"/>
      </a:accent5>
      <a:accent6>
        <a:srgbClr val="41738C"/>
      </a:accent6>
      <a:hlink>
        <a:srgbClr val="0000FF"/>
      </a:hlink>
      <a:folHlink>
        <a:srgbClr val="800080"/>
      </a:folHlink>
    </a:clrScheme>
    <a:fontScheme name="Personnalisé 7">
      <a:majorFont>
        <a:latin typeface="Tahom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0" tIns="0" rIns="0" bIns="0" rtlCol="0" anchor="ctr" anchorCtr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1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0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000e2059-5ee7-47e9-8d7c-e5c5b9f97e02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595B23E8A70249AE3893FA40C3D0AC" ma:contentTypeVersion="3" ma:contentTypeDescription="Create a new document." ma:contentTypeScope="" ma:versionID="10d27e969f5378d37b63249282d38cde">
  <xsd:schema xmlns:xsd="http://www.w3.org/2001/XMLSchema" xmlns:xs="http://www.w3.org/2001/XMLSchema" xmlns:p="http://schemas.microsoft.com/office/2006/metadata/properties" xmlns:ns2="21f1b9a1-a14a-4bc7-a26e-d14c8d65680a" xmlns:ns3="44440806-fd11-4447-82a8-07bec90d064d" targetNamespace="http://schemas.microsoft.com/office/2006/metadata/properties" ma:root="true" ma:fieldsID="e8a97cf32bb12b6fe2a0bfe11c1646a4" ns2:_="" ns3:_="">
    <xsd:import namespace="21f1b9a1-a14a-4bc7-a26e-d14c8d65680a"/>
    <xsd:import namespace="44440806-fd11-4447-82a8-07bec90d064d"/>
    <xsd:element name="properties">
      <xsd:complexType>
        <xsd:sequence>
          <xsd:element name="documentManagement">
            <xsd:complexType>
              <xsd:all>
                <xsd:element ref="ns2:Description_x0020__x0028_doc_x0029_" minOccurs="0"/>
                <xsd:element ref="ns2:m7b91fbce3df4f5da115d1433180bceb" minOccurs="0"/>
                <xsd:element ref="ns2:TaxCatchAll" minOccurs="0"/>
                <xsd:element ref="ns2:TaxCatchAllLabel" minOccurs="0"/>
                <xsd:element ref="ns2:jfd51d9e2b464e40b8a7b13280b9089c" minOccurs="0"/>
                <xsd:element ref="ns2:e16ca6858a6d4e1eb1b2576b3483cc38" minOccurs="0"/>
                <xsd:element ref="ns2:cb7384e601db497bbb88b8939feae4db" minOccurs="0"/>
                <xsd:element ref="ns2:Sensitivity_x0020_level" minOccurs="0"/>
                <xsd:element ref="ns2:Sensitivity_x0020_subject" minOccurs="0"/>
                <xsd:element ref="ns2:Document_x0020_ID" minOccurs="0"/>
                <xsd:element ref="ns3:TaxKeywordTaxHTFiel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1b9a1-a14a-4bc7-a26e-d14c8d65680a" elementFormDefault="qualified">
    <xsd:import namespace="http://schemas.microsoft.com/office/2006/documentManagement/types"/>
    <xsd:import namespace="http://schemas.microsoft.com/office/infopath/2007/PartnerControls"/>
    <xsd:element name="Description_x0020__x0028_doc_x0029_" ma:index="8" nillable="true" ma:displayName="Description (doc)" ma:description="Describes the content of this document." ma:internalName="Description_x0020__x0028_doc_x0029_">
      <xsd:simpleType>
        <xsd:restriction base="dms:Note">
          <xsd:maxLength value="255"/>
        </xsd:restriction>
      </xsd:simpleType>
    </xsd:element>
    <xsd:element name="m7b91fbce3df4f5da115d1433180bceb" ma:index="9" nillable="true" ma:taxonomy="true" ma:internalName="m7b91fbce3df4f5da115d1433180bceb" ma:taxonomyFieldName="Document_x0020_type" ma:displayName="Document type" ma:default="" ma:fieldId="{67b91fbc-e3df-4f5d-a115-d1433180bceb}" ma:taxonomyMulti="true" ma:sspId="000e2059-5ee7-47e9-8d7c-e5c5b9f97e02" ma:termSetId="b41fe23d-2ab6-46db-841a-cbc15ff164f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45d85f52-59d9-44dc-a72d-9fef9d972ed8}" ma:internalName="TaxCatchAll" ma:showField="CatchAllData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45d85f52-59d9-44dc-a72d-9fef9d972ed8}" ma:internalName="TaxCatchAllLabel" ma:readOnly="true" ma:showField="CatchAllDataLabel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fd51d9e2b464e40b8a7b13280b9089c" ma:index="13" nillable="true" ma:taxonomy="true" ma:internalName="jfd51d9e2b464e40b8a7b13280b9089c" ma:taxonomyFieldName="Community" ma:displayName="Community" ma:default="" ma:fieldId="{3fd51d9e-2b46-4e40-b8a7-b13280b9089c}" ma:taxonomyMulti="true" ma:sspId="000e2059-5ee7-47e9-8d7c-e5c5b9f97e02" ma:termSetId="cbff4a31-9767-48d3-9f7e-7d5fae8965a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6ca6858a6d4e1eb1b2576b3483cc38" ma:index="15" nillable="true" ma:taxonomy="true" ma:internalName="e16ca6858a6d4e1eb1b2576b3483cc38" ma:taxonomyFieldName="Steria_x0020_location" ma:displayName="Steria location" ma:default="" ma:fieldId="{e16ca685-8a6d-4e1e-b1b2-576b3483cc38}" ma:taxonomyMulti="true" ma:sspId="000e2059-5ee7-47e9-8d7c-e5c5b9f97e02" ma:termSetId="06fb51a1-70d9-4608-80ae-c46ce699b39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7384e601db497bbb88b8939feae4db" ma:index="17" nillable="true" ma:taxonomy="true" ma:internalName="cb7384e601db497bbb88b8939feae4db" ma:taxonomyFieldName="Languages" ma:displayName="Languages" ma:default="" ma:fieldId="{cb7384e6-01db-497b-bb88-b8939feae4db}" ma:taxonomyMulti="true" ma:sspId="000e2059-5ee7-47e9-8d7c-e5c5b9f97e02" ma:termSetId="5d5e187e-ca10-44f3-ac34-13e5ac42fd4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nsitivity_x0020_level" ma:index="19" nillable="true" ma:displayName="Sensitivity level" ma:description="Choose the sensitivity level of your document." ma:format="Dropdown" ma:internalName="Sensitivity_x0020_level">
      <xsd:simpleType>
        <xsd:restriction base="dms:Choice">
          <xsd:enumeration value="Open - None or Public"/>
          <xsd:enumeration value="Level 1 - For internal use only"/>
          <xsd:enumeration value="Level 2 - In confidence"/>
          <xsd:enumeration value="Level 3 - In strictest confidence"/>
        </xsd:restriction>
      </xsd:simpleType>
    </xsd:element>
    <xsd:element name="Sensitivity_x0020_subject" ma:index="20" nillable="true" ma:displayName="Sensitivity subject" ma:description="Free text to indicate the reason for the sensitivity level." ma:internalName="Sensitivity_x0020_subject">
      <xsd:simpleType>
        <xsd:restriction base="dms:Text">
          <xsd:maxLength value="255"/>
        </xsd:restriction>
      </xsd:simpleType>
    </xsd:element>
    <xsd:element name="Document_x0020_ID" ma:index="21" nillable="true" ma:displayName="Document ID" ma:description="Optional free text field which can be used to record your own or local client or project reference identifier." ma:internalName="Document_x0020_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440806-fd11-4447-82a8-07bec90d064d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23" nillable="true" ma:taxonomy="true" ma:internalName="TaxKeywordTaxHTField" ma:taxonomyFieldName="TaxKeyword" ma:displayName="Enterprise Keywords" ma:fieldId="{23f27201-bee3-471e-b2e7-b64fd8b7ca38}" ma:taxonomyMulti="true" ma:sspId="000e2059-5ee7-47e9-8d7c-e5c5b9f97e0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ID xmlns="21f1b9a1-a14a-4bc7-a26e-d14c8d65680a" xsi:nil="true"/>
    <TaxCatchAll xmlns="21f1b9a1-a14a-4bc7-a26e-d14c8d65680a"/>
    <TaxKeywordTaxHTField xmlns="44440806-fd11-4447-82a8-07bec90d064d">
      <Terms xmlns="http://schemas.microsoft.com/office/infopath/2007/PartnerControls"/>
    </TaxKeywordTaxHTField>
    <Description_x0020__x0028_doc_x0029_ xmlns="21f1b9a1-a14a-4bc7-a26e-d14c8d65680a" xsi:nil="true"/>
    <jfd51d9e2b464e40b8a7b13280b9089c xmlns="21f1b9a1-a14a-4bc7-a26e-d14c8d65680a">
      <Terms xmlns="http://schemas.microsoft.com/office/infopath/2007/PartnerControls"/>
    </jfd51d9e2b464e40b8a7b13280b9089c>
    <Sensitivity_x0020_subject xmlns="21f1b9a1-a14a-4bc7-a26e-d14c8d65680a" xsi:nil="true"/>
    <Sensitivity_x0020_level xmlns="21f1b9a1-a14a-4bc7-a26e-d14c8d65680a">Level 1 - For internal use only</Sensitivity_x0020_level>
    <m7b91fbce3df4f5da115d1433180bceb xmlns="21f1b9a1-a14a-4bc7-a26e-d14c8d65680a">
      <Terms xmlns="http://schemas.microsoft.com/office/infopath/2007/PartnerControls"/>
    </m7b91fbce3df4f5da115d1433180bceb>
    <e16ca6858a6d4e1eb1b2576b3483cc38 xmlns="21f1b9a1-a14a-4bc7-a26e-d14c8d65680a">
      <Terms xmlns="http://schemas.microsoft.com/office/infopath/2007/PartnerControls"/>
    </e16ca6858a6d4e1eb1b2576b3483cc38>
    <cb7384e601db497bbb88b8939feae4db xmlns="21f1b9a1-a14a-4bc7-a26e-d14c8d65680a">
      <Terms xmlns="http://schemas.microsoft.com/office/infopath/2007/PartnerControls"/>
    </cb7384e601db497bbb88b8939feae4db>
  </documentManagement>
</p:properties>
</file>

<file path=customXml/itemProps1.xml><?xml version="1.0" encoding="utf-8"?>
<ds:datastoreItem xmlns:ds="http://schemas.openxmlformats.org/officeDocument/2006/customXml" ds:itemID="{E368A512-73EB-49E2-B5D1-942B8B89988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9E2BBF-1766-4AF4-AA1A-C1E7D94DA7AD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03F68B5D-060D-461E-B35E-22CCF0143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f1b9a1-a14a-4bc7-a26e-d14c8d65680a"/>
    <ds:schemaRef ds:uri="44440806-fd11-4447-82a8-07bec90d06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C5291E0E-528F-442D-9599-63A5567E7BA9}">
  <ds:schemaRefs>
    <ds:schemaRef ds:uri="http://purl.org/dc/dcmitype/"/>
    <ds:schemaRef ds:uri="44440806-fd11-4447-82a8-07bec90d064d"/>
    <ds:schemaRef ds:uri="http://www.w3.org/XML/1998/namespace"/>
    <ds:schemaRef ds:uri="http://schemas.microsoft.com/office/2006/documentManagement/types"/>
    <ds:schemaRef ds:uri="21f1b9a1-a14a-4bc7-a26e-d14c8d65680a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Sopra Steria Consulting</Template>
  <TotalTime>0</TotalTime>
  <Words>381</Words>
  <Application>Microsoft Office PowerPoint</Application>
  <PresentationFormat>Bildschirmpräsentation (4:3)</PresentationFormat>
  <Paragraphs>126</Paragraphs>
  <Slides>14</Slides>
  <Notes>14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6" baseType="lpstr">
      <vt:lpstr>Präsentation Sopra Steria Consulting</vt:lpstr>
      <vt:lpstr>think-cell Folie</vt:lpstr>
      <vt:lpstr>TechUpDate Status</vt:lpstr>
      <vt:lpstr>PowerPoint-Präsentation</vt:lpstr>
      <vt:lpstr>Idee und Ziele</vt:lpstr>
      <vt:lpstr>Idee und Ziele</vt:lpstr>
      <vt:lpstr>Organisation</vt:lpstr>
      <vt:lpstr>Organisation</vt:lpstr>
      <vt:lpstr>Bestandsaufnahme</vt:lpstr>
      <vt:lpstr>Bestandsaufnahme</vt:lpstr>
      <vt:lpstr>Themenspeicher</vt:lpstr>
      <vt:lpstr>Themenspeicher</vt:lpstr>
      <vt:lpstr>Nächste Schritte</vt:lpstr>
      <vt:lpstr>Nächste Schritte</vt:lpstr>
      <vt:lpstr>PowerPoint-Präsentation</vt:lpstr>
      <vt:lpstr>PowerPoint-Präsentation</vt:lpstr>
    </vt:vector>
  </TitlesOfParts>
  <Company>Ster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UpDate Status</dc:title>
  <dc:creator>Christian ADAM</dc:creator>
  <cp:lastModifiedBy>Christian ADAM</cp:lastModifiedBy>
  <cp:revision>13</cp:revision>
  <cp:lastPrinted>2014-12-17T10:52:37Z</cp:lastPrinted>
  <dcterms:created xsi:type="dcterms:W3CDTF">2017-02-15T19:05:09Z</dcterms:created>
  <dcterms:modified xsi:type="dcterms:W3CDTF">2017-02-22T18:0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595B23E8A70249AE3893FA40C3D0AC</vt:lpwstr>
  </property>
  <property fmtid="{D5CDD505-2E9C-101B-9397-08002B2CF9AE}" pid="3" name="TaxKeyword">
    <vt:lpwstr/>
  </property>
  <property fmtid="{D5CDD505-2E9C-101B-9397-08002B2CF9AE}" pid="4" name="DokuNr">
    <vt:lpwstr>31.215</vt:lpwstr>
  </property>
  <property fmtid="{D5CDD505-2E9C-101B-9397-08002B2CF9AE}" pid="5" name="VorlageVersion">
    <vt:lpwstr>03</vt:lpwstr>
  </property>
  <property fmtid="{D5CDD505-2E9C-101B-9397-08002B2CF9AE}" pid="6" name="DOC_StatusRahmen">
    <vt:bool>false</vt:bool>
  </property>
  <property fmtid="{D5CDD505-2E9C-101B-9397-08002B2CF9AE}" pid="7" name="DOC_Datum">
    <vt:lpwstr> </vt:lpwstr>
  </property>
  <property fmtid="{D5CDD505-2E9C-101B-9397-08002B2CF9AE}" pid="8" name="DOC_Team">
    <vt:lpwstr> </vt:lpwstr>
  </property>
  <property fmtid="{D5CDD505-2E9C-101B-9397-08002B2CF9AE}" pid="9" name="DOC_Titel">
    <vt:lpwstr>Titel</vt:lpwstr>
  </property>
  <property fmtid="{D5CDD505-2E9C-101B-9397-08002B2CF9AE}" pid="10" name="DOC_Untertitel">
    <vt:lpwstr>Untertitel</vt:lpwstr>
  </property>
  <property fmtid="{D5CDD505-2E9C-101B-9397-08002B2CF9AE}" pid="11" name="DOC_Ort">
    <vt:lpwstr> </vt:lpwstr>
  </property>
  <property fmtid="{D5CDD505-2E9C-101B-9397-08002B2CF9AE}" pid="12" name="UD_Bezeichnung">
    <vt:lpwstr>Sopra Steria GmbH</vt:lpwstr>
  </property>
  <property fmtid="{D5CDD505-2E9C-101B-9397-08002B2CF9AE}" pid="13" name="UD_Kurzbezeichnung">
    <vt:lpwstr>Sopra Steria Consulting</vt:lpwstr>
  </property>
  <property fmtid="{D5CDD505-2E9C-101B-9397-08002B2CF9AE}" pid="14" name="UD_Geschaeftsfuehrung1">
    <vt:lpwstr>Vorsitzender des Aufsichtsrates: François Enaud</vt:lpwstr>
  </property>
  <property fmtid="{D5CDD505-2E9C-101B-9397-08002B2CF9AE}" pid="15" name="UD_Geschaeftsfuehrung2">
    <vt:lpwstr>Geschäftsführer: Urs Michael Krämer</vt:lpwstr>
  </property>
  <property fmtid="{D5CDD505-2E9C-101B-9397-08002B2CF9AE}" pid="16" name="UD_Gesellschaftssitz">
    <vt:lpwstr>Gesellschaftssitz: Hamburg</vt:lpwstr>
  </property>
  <property fmtid="{D5CDD505-2E9C-101B-9397-08002B2CF9AE}" pid="17" name="UD_Registereintrag">
    <vt:lpwstr>HRB 130 165 Amtsgericht Hamburg - USt-ID-Nr.: DE118671351</vt:lpwstr>
  </property>
  <property fmtid="{D5CDD505-2E9C-101B-9397-08002B2CF9AE}" pid="18" name="SO_StrasseNr">
    <vt:lpwstr>Neue Weyerstraße 6</vt:lpwstr>
  </property>
  <property fmtid="{D5CDD505-2E9C-101B-9397-08002B2CF9AE}" pid="19" name="SO_LKE">
    <vt:lpwstr>D</vt:lpwstr>
  </property>
  <property fmtid="{D5CDD505-2E9C-101B-9397-08002B2CF9AE}" pid="20" name="SO_PLZ">
    <vt:lpwstr>50676</vt:lpwstr>
  </property>
  <property fmtid="{D5CDD505-2E9C-101B-9397-08002B2CF9AE}" pid="21" name="SO_ORT">
    <vt:lpwstr>Köln</vt:lpwstr>
  </property>
  <property fmtid="{D5CDD505-2E9C-101B-9397-08002B2CF9AE}" pid="22" name="SO_TELEFON">
    <vt:lpwstr>+49 221 92404</vt:lpwstr>
  </property>
  <property fmtid="{D5CDD505-2E9C-101B-9397-08002B2CF9AE}" pid="23" name="UE_Telefon">
    <vt:lpwstr>Telefon</vt:lpwstr>
  </property>
  <property fmtid="{D5CDD505-2E9C-101B-9397-08002B2CF9AE}" pid="24" name="UE_Fax">
    <vt:lpwstr>Fax</vt:lpwstr>
  </property>
  <property fmtid="{D5CDD505-2E9C-101B-9397-08002B2CF9AE}" pid="25" name="SO_Fax">
    <vt:lpwstr>7999</vt:lpwstr>
  </property>
  <property fmtid="{D5CDD505-2E9C-101B-9397-08002B2CF9AE}" pid="26" name="UE_Email">
    <vt:lpwstr>E-Mail</vt:lpwstr>
  </property>
  <property fmtid="{D5CDD505-2E9C-101B-9397-08002B2CF9AE}" pid="27" name="US_Email">
    <vt:lpwstr>bettina.dinslage@steria-mummert.de</vt:lpwstr>
  </property>
  <property fmtid="{D5CDD505-2E9C-101B-9397-08002B2CF9AE}" pid="28" name="UD_LogoMittel">
    <vt:lpwstr>Logo_SMC standard 40.jpg</vt:lpwstr>
  </property>
  <property fmtid="{D5CDD505-2E9C-101B-9397-08002B2CF9AE}" pid="29" name="UD_LogoGross">
    <vt:lpwstr>Logo_SMC cover 64.jpg</vt:lpwstr>
  </property>
  <property fmtid="{D5CDD505-2E9C-101B-9397-08002B2CF9AE}" pid="30" name="UD_LogoWhite">
    <vt:lpwstr> </vt:lpwstr>
  </property>
  <property fmtid="{D5CDD505-2E9C-101B-9397-08002B2CF9AE}" pid="31" name="US_UD_ID">
    <vt:lpwstr>DE10</vt:lpwstr>
  </property>
  <property fmtid="{D5CDD505-2E9C-101B-9397-08002B2CF9AE}" pid="32" name="UD_ID">
    <vt:lpwstr>DE10</vt:lpwstr>
  </property>
  <property fmtid="{D5CDD505-2E9C-101B-9397-08002B2CF9AE}" pid="33" name="UD_Anzeigetext">
    <vt:lpwstr>Sopra Steria Consulting (D)</vt:lpwstr>
  </property>
  <property fmtid="{D5CDD505-2E9C-101B-9397-08002B2CF9AE}" pid="34" name="DOC_UD_ID">
    <vt:lpwstr>DE10</vt:lpwstr>
  </property>
  <property fmtid="{D5CDD505-2E9C-101B-9397-08002B2CF9AE}" pid="35" name="US_SO_ID">
    <vt:lpwstr>5</vt:lpwstr>
  </property>
  <property fmtid="{D5CDD505-2E9C-101B-9397-08002B2CF9AE}" pid="36" name="DOC_SO_ID">
    <vt:lpwstr>5</vt:lpwstr>
  </property>
  <property fmtid="{D5CDD505-2E9C-101B-9397-08002B2CF9AE}" pid="37" name="DOC_U1Gesellschaft">
    <vt:lpwstr>Sopra Steria Consulting (D)</vt:lpwstr>
  </property>
  <property fmtid="{D5CDD505-2E9C-101B-9397-08002B2CF9AE}" pid="38" name="DOC_U1Standort">
    <vt:lpwstr>Köln</vt:lpwstr>
  </property>
  <property fmtid="{D5CDD505-2E9C-101B-9397-08002B2CF9AE}" pid="39" name="DOC_Sprache">
    <vt:lpwstr>Deutsch</vt:lpwstr>
  </property>
  <property fmtid="{D5CDD505-2E9C-101B-9397-08002B2CF9AE}" pid="40" name="UD_Zusatzlogo">
    <vt:lpwstr> </vt:lpwstr>
  </property>
  <property fmtid="{D5CDD505-2E9C-101B-9397-08002B2CF9AE}" pid="41" name="SO_Durchwahl">
    <vt:lpwstr>0</vt:lpwstr>
  </property>
  <property fmtid="{D5CDD505-2E9C-101B-9397-08002B2CF9AE}" pid="42" name="UD_Email">
    <vt:lpwstr>info.de@soprasteria.com</vt:lpwstr>
  </property>
  <property fmtid="{D5CDD505-2E9C-101B-9397-08002B2CF9AE}" pid="43" name="UD_InternetAdresse">
    <vt:lpwstr>www.soprasteria.com</vt:lpwstr>
  </property>
  <property fmtid="{D5CDD505-2E9C-101B-9397-08002B2CF9AE}" pid="44" name="UD_LogoKlein">
    <vt:lpwstr>Logo_SMC standard 40.jpg</vt:lpwstr>
  </property>
</Properties>
</file>